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744"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BB38BA-0BCF-4DC6-9CD0-0B60A020D179}" v="51" dt="2023-02-28T00:43:26.8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01" d="100"/>
          <a:sy n="101" d="100"/>
        </p:scale>
        <p:origin x="144" y="828"/>
      </p:cViewPr>
      <p:guideLst>
        <p:guide orient="horz" pos="648"/>
        <p:guide pos="3744"/>
        <p:guide pos="7584"/>
        <p:guide orient="horz" pos="4032"/>
        <p:guide pos="96"/>
        <p:guide pos="2856"/>
        <p:guide pos="576"/>
        <p:guide orient="horz" pos="3840"/>
        <p:guide orient="horz" pos="816"/>
        <p:guide orient="horz" pos="1032"/>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01BB38BA-0BCF-4DC6-9CD0-0B60A020D179}"/>
    <pc:docChg chg="addSld delSld modSld">
      <pc:chgData name="Roberto Gallardo" userId="49a044883f185952" providerId="LiveId" clId="{01BB38BA-0BCF-4DC6-9CD0-0B60A020D179}" dt="2023-02-28T00:43:26.887" v="20"/>
      <pc:docMkLst>
        <pc:docMk/>
      </pc:docMkLst>
      <pc:sldChg chg="addSp modSp">
        <pc:chgData name="Roberto Gallardo" userId="49a044883f185952" providerId="LiveId" clId="{01BB38BA-0BCF-4DC6-9CD0-0B60A020D179}" dt="2023-02-28T00:40:59.726" v="0"/>
        <pc:sldMkLst>
          <pc:docMk/>
          <pc:sldMk cId="1418533539" sldId="271"/>
        </pc:sldMkLst>
        <pc:picChg chg="add mod">
          <ac:chgData name="Roberto Gallardo" userId="49a044883f185952" providerId="LiveId" clId="{01BB38BA-0BCF-4DC6-9CD0-0B60A020D179}" dt="2023-02-28T00:40:59.726" v="0"/>
          <ac:picMkLst>
            <pc:docMk/>
            <pc:sldMk cId="1418533539" sldId="271"/>
            <ac:picMk id="5" creationId="{1319E5B6-942E-B4C1-6545-37990D238834}"/>
          </ac:picMkLst>
        </pc:picChg>
      </pc:sldChg>
      <pc:sldChg chg="addSp modSp">
        <pc:chgData name="Roberto Gallardo" userId="49a044883f185952" providerId="LiveId" clId="{01BB38BA-0BCF-4DC6-9CD0-0B60A020D179}" dt="2023-02-28T00:41:43.071" v="6"/>
        <pc:sldMkLst>
          <pc:docMk/>
          <pc:sldMk cId="2124848710" sldId="281"/>
        </pc:sldMkLst>
        <pc:picChg chg="add mod">
          <ac:chgData name="Roberto Gallardo" userId="49a044883f185952" providerId="LiveId" clId="{01BB38BA-0BCF-4DC6-9CD0-0B60A020D179}" dt="2023-02-28T00:41:43.071" v="6"/>
          <ac:picMkLst>
            <pc:docMk/>
            <pc:sldMk cId="2124848710" sldId="281"/>
            <ac:picMk id="6" creationId="{34317F2B-5721-9E0E-12AA-3A8D802F7E75}"/>
          </ac:picMkLst>
        </pc:picChg>
      </pc:sldChg>
      <pc:sldChg chg="addSp modSp">
        <pc:chgData name="Roberto Gallardo" userId="49a044883f185952" providerId="LiveId" clId="{01BB38BA-0BCF-4DC6-9CD0-0B60A020D179}" dt="2023-02-28T00:41:56.267" v="7"/>
        <pc:sldMkLst>
          <pc:docMk/>
          <pc:sldMk cId="2028175529" sldId="282"/>
        </pc:sldMkLst>
        <pc:picChg chg="add mod">
          <ac:chgData name="Roberto Gallardo" userId="49a044883f185952" providerId="LiveId" clId="{01BB38BA-0BCF-4DC6-9CD0-0B60A020D179}" dt="2023-02-28T00:41:56.267" v="7"/>
          <ac:picMkLst>
            <pc:docMk/>
            <pc:sldMk cId="2028175529" sldId="282"/>
            <ac:picMk id="7" creationId="{E259B842-2C93-5CEF-CBFF-AFB650E4A91A}"/>
          </ac:picMkLst>
        </pc:picChg>
      </pc:sldChg>
      <pc:sldChg chg="addSp modSp">
        <pc:chgData name="Roberto Gallardo" userId="49a044883f185952" providerId="LiveId" clId="{01BB38BA-0BCF-4DC6-9CD0-0B60A020D179}" dt="2023-02-28T00:42:02.525" v="8"/>
        <pc:sldMkLst>
          <pc:docMk/>
          <pc:sldMk cId="1326517747" sldId="283"/>
        </pc:sldMkLst>
        <pc:picChg chg="add mod">
          <ac:chgData name="Roberto Gallardo" userId="49a044883f185952" providerId="LiveId" clId="{01BB38BA-0BCF-4DC6-9CD0-0B60A020D179}" dt="2023-02-28T00:42:02.525" v="8"/>
          <ac:picMkLst>
            <pc:docMk/>
            <pc:sldMk cId="1326517747" sldId="283"/>
            <ac:picMk id="7" creationId="{80B95375-E2BF-1A3D-6F79-2EF9A7BE8C4D}"/>
          </ac:picMkLst>
        </pc:picChg>
      </pc:sldChg>
      <pc:sldChg chg="addSp modSp">
        <pc:chgData name="Roberto Gallardo" userId="49a044883f185952" providerId="LiveId" clId="{01BB38BA-0BCF-4DC6-9CD0-0B60A020D179}" dt="2023-02-28T00:42:09.622" v="9"/>
        <pc:sldMkLst>
          <pc:docMk/>
          <pc:sldMk cId="783739251" sldId="284"/>
        </pc:sldMkLst>
        <pc:picChg chg="add mod">
          <ac:chgData name="Roberto Gallardo" userId="49a044883f185952" providerId="LiveId" clId="{01BB38BA-0BCF-4DC6-9CD0-0B60A020D179}" dt="2023-02-28T00:42:09.622" v="9"/>
          <ac:picMkLst>
            <pc:docMk/>
            <pc:sldMk cId="783739251" sldId="284"/>
            <ac:picMk id="7" creationId="{6D1FED5A-3EAE-C4F8-D47E-1DE30CEA9DAA}"/>
          </ac:picMkLst>
        </pc:picChg>
      </pc:sldChg>
      <pc:sldChg chg="addSp modSp">
        <pc:chgData name="Roberto Gallardo" userId="49a044883f185952" providerId="LiveId" clId="{01BB38BA-0BCF-4DC6-9CD0-0B60A020D179}" dt="2023-02-28T00:42:26.663" v="12"/>
        <pc:sldMkLst>
          <pc:docMk/>
          <pc:sldMk cId="1676122233" sldId="285"/>
        </pc:sldMkLst>
        <pc:picChg chg="add mod">
          <ac:chgData name="Roberto Gallardo" userId="49a044883f185952" providerId="LiveId" clId="{01BB38BA-0BCF-4DC6-9CD0-0B60A020D179}" dt="2023-02-28T00:42:26.663" v="12"/>
          <ac:picMkLst>
            <pc:docMk/>
            <pc:sldMk cId="1676122233" sldId="285"/>
            <ac:picMk id="7" creationId="{E1D6FEAE-897C-1142-087F-2554818C6FB1}"/>
          </ac:picMkLst>
        </pc:picChg>
      </pc:sldChg>
      <pc:sldChg chg="addSp modSp">
        <pc:chgData name="Roberto Gallardo" userId="49a044883f185952" providerId="LiveId" clId="{01BB38BA-0BCF-4DC6-9CD0-0B60A020D179}" dt="2023-02-28T00:42:41.497" v="13"/>
        <pc:sldMkLst>
          <pc:docMk/>
          <pc:sldMk cId="3100398757" sldId="286"/>
        </pc:sldMkLst>
        <pc:picChg chg="add mod">
          <ac:chgData name="Roberto Gallardo" userId="49a044883f185952" providerId="LiveId" clId="{01BB38BA-0BCF-4DC6-9CD0-0B60A020D179}" dt="2023-02-28T00:42:41.497" v="13"/>
          <ac:picMkLst>
            <pc:docMk/>
            <pc:sldMk cId="3100398757" sldId="286"/>
            <ac:picMk id="7" creationId="{99D46A06-2342-75B8-0940-E719178C5398}"/>
          </ac:picMkLst>
        </pc:picChg>
      </pc:sldChg>
      <pc:sldChg chg="addSp modSp">
        <pc:chgData name="Roberto Gallardo" userId="49a044883f185952" providerId="LiveId" clId="{01BB38BA-0BCF-4DC6-9CD0-0B60A020D179}" dt="2023-02-28T00:42:48.781" v="14"/>
        <pc:sldMkLst>
          <pc:docMk/>
          <pc:sldMk cId="1546475425" sldId="287"/>
        </pc:sldMkLst>
        <pc:picChg chg="add mod">
          <ac:chgData name="Roberto Gallardo" userId="49a044883f185952" providerId="LiveId" clId="{01BB38BA-0BCF-4DC6-9CD0-0B60A020D179}" dt="2023-02-28T00:42:48.781" v="14"/>
          <ac:picMkLst>
            <pc:docMk/>
            <pc:sldMk cId="1546475425" sldId="287"/>
            <ac:picMk id="7" creationId="{417FA551-0998-64ED-A2C5-E3534CD82666}"/>
          </ac:picMkLst>
        </pc:picChg>
      </pc:sldChg>
      <pc:sldChg chg="addSp modSp">
        <pc:chgData name="Roberto Gallardo" userId="49a044883f185952" providerId="LiveId" clId="{01BB38BA-0BCF-4DC6-9CD0-0B60A020D179}" dt="2023-02-28T00:43:03.063" v="16"/>
        <pc:sldMkLst>
          <pc:docMk/>
          <pc:sldMk cId="1380517306" sldId="288"/>
        </pc:sldMkLst>
        <pc:picChg chg="add mod">
          <ac:chgData name="Roberto Gallardo" userId="49a044883f185952" providerId="LiveId" clId="{01BB38BA-0BCF-4DC6-9CD0-0B60A020D179}" dt="2023-02-28T00:43:03.063" v="16"/>
          <ac:picMkLst>
            <pc:docMk/>
            <pc:sldMk cId="1380517306" sldId="288"/>
            <ac:picMk id="7" creationId="{2AFF372E-7AE6-7506-9020-E629AFA6D4AD}"/>
          </ac:picMkLst>
        </pc:picChg>
      </pc:sldChg>
      <pc:sldChg chg="addSp modSp">
        <pc:chgData name="Roberto Gallardo" userId="49a044883f185952" providerId="LiveId" clId="{01BB38BA-0BCF-4DC6-9CD0-0B60A020D179}" dt="2023-02-28T00:43:08.478" v="17"/>
        <pc:sldMkLst>
          <pc:docMk/>
          <pc:sldMk cId="1388671151" sldId="289"/>
        </pc:sldMkLst>
        <pc:picChg chg="add mod">
          <ac:chgData name="Roberto Gallardo" userId="49a044883f185952" providerId="LiveId" clId="{01BB38BA-0BCF-4DC6-9CD0-0B60A020D179}" dt="2023-02-28T00:43:08.478" v="17"/>
          <ac:picMkLst>
            <pc:docMk/>
            <pc:sldMk cId="1388671151" sldId="289"/>
            <ac:picMk id="7" creationId="{15D08D82-536B-7D1D-E0C3-D45977BE7A09}"/>
          </ac:picMkLst>
        </pc:picChg>
      </pc:sldChg>
      <pc:sldChg chg="addSp modSp">
        <pc:chgData name="Roberto Gallardo" userId="49a044883f185952" providerId="LiveId" clId="{01BB38BA-0BCF-4DC6-9CD0-0B60A020D179}" dt="2023-02-28T00:43:21.150" v="19"/>
        <pc:sldMkLst>
          <pc:docMk/>
          <pc:sldMk cId="2355376039" sldId="290"/>
        </pc:sldMkLst>
        <pc:picChg chg="add mod">
          <ac:chgData name="Roberto Gallardo" userId="49a044883f185952" providerId="LiveId" clId="{01BB38BA-0BCF-4DC6-9CD0-0B60A020D179}" dt="2023-02-28T00:43:21.150" v="19"/>
          <ac:picMkLst>
            <pc:docMk/>
            <pc:sldMk cId="2355376039" sldId="290"/>
            <ac:picMk id="8" creationId="{61419480-810D-32CD-F2B6-E162BE90162A}"/>
          </ac:picMkLst>
        </pc:picChg>
      </pc:sldChg>
      <pc:sldChg chg="addSp modSp">
        <pc:chgData name="Roberto Gallardo" userId="49a044883f185952" providerId="LiveId" clId="{01BB38BA-0BCF-4DC6-9CD0-0B60A020D179}" dt="2023-02-28T00:43:26.887" v="20"/>
        <pc:sldMkLst>
          <pc:docMk/>
          <pc:sldMk cId="3757257295" sldId="291"/>
        </pc:sldMkLst>
        <pc:picChg chg="add mod">
          <ac:chgData name="Roberto Gallardo" userId="49a044883f185952" providerId="LiveId" clId="{01BB38BA-0BCF-4DC6-9CD0-0B60A020D179}" dt="2023-02-28T00:43:26.887" v="20"/>
          <ac:picMkLst>
            <pc:docMk/>
            <pc:sldMk cId="3757257295" sldId="291"/>
            <ac:picMk id="8" creationId="{84E8F11C-34FE-A676-2B91-379E2EA54DBB}"/>
          </ac:picMkLst>
        </pc:picChg>
      </pc:sldChg>
      <pc:sldChg chg="addSp modSp">
        <pc:chgData name="Roberto Gallardo" userId="49a044883f185952" providerId="LiveId" clId="{01BB38BA-0BCF-4DC6-9CD0-0B60A020D179}" dt="2023-02-28T00:42:56.620" v="15"/>
        <pc:sldMkLst>
          <pc:docMk/>
          <pc:sldMk cId="1259856727" sldId="292"/>
        </pc:sldMkLst>
        <pc:picChg chg="add mod">
          <ac:chgData name="Roberto Gallardo" userId="49a044883f185952" providerId="LiveId" clId="{01BB38BA-0BCF-4DC6-9CD0-0B60A020D179}" dt="2023-02-28T00:42:56.620" v="15"/>
          <ac:picMkLst>
            <pc:docMk/>
            <pc:sldMk cId="1259856727" sldId="292"/>
            <ac:picMk id="7" creationId="{91BDA16F-1514-1A47-246A-26163D0957D4}"/>
          </ac:picMkLst>
        </pc:picChg>
      </pc:sldChg>
      <pc:sldChg chg="addSp modSp">
        <pc:chgData name="Roberto Gallardo" userId="49a044883f185952" providerId="LiveId" clId="{01BB38BA-0BCF-4DC6-9CD0-0B60A020D179}" dt="2023-02-28T00:41:35.550" v="5"/>
        <pc:sldMkLst>
          <pc:docMk/>
          <pc:sldMk cId="3324519687" sldId="293"/>
        </pc:sldMkLst>
        <pc:picChg chg="add mod">
          <ac:chgData name="Roberto Gallardo" userId="49a044883f185952" providerId="LiveId" clId="{01BB38BA-0BCF-4DC6-9CD0-0B60A020D179}" dt="2023-02-28T00:41:35.550" v="5"/>
          <ac:picMkLst>
            <pc:docMk/>
            <pc:sldMk cId="3324519687" sldId="293"/>
            <ac:picMk id="7" creationId="{1A8C7B52-DF88-9C4E-D4CA-3A45F7A29824}"/>
          </ac:picMkLst>
        </pc:picChg>
      </pc:sldChg>
      <pc:sldChg chg="addSp modSp">
        <pc:chgData name="Roberto Gallardo" userId="49a044883f185952" providerId="LiveId" clId="{01BB38BA-0BCF-4DC6-9CD0-0B60A020D179}" dt="2023-02-28T00:41:21.231" v="3"/>
        <pc:sldMkLst>
          <pc:docMk/>
          <pc:sldMk cId="3256182630" sldId="295"/>
        </pc:sldMkLst>
        <pc:picChg chg="add mod">
          <ac:chgData name="Roberto Gallardo" userId="49a044883f185952" providerId="LiveId" clId="{01BB38BA-0BCF-4DC6-9CD0-0B60A020D179}" dt="2023-02-28T00:41:21.231" v="3"/>
          <ac:picMkLst>
            <pc:docMk/>
            <pc:sldMk cId="3256182630" sldId="295"/>
            <ac:picMk id="7" creationId="{AD9E09B6-3229-7E96-9478-EC8620B3B33F}"/>
          </ac:picMkLst>
        </pc:picChg>
      </pc:sldChg>
      <pc:sldChg chg="addSp modSp">
        <pc:chgData name="Roberto Gallardo" userId="49a044883f185952" providerId="LiveId" clId="{01BB38BA-0BCF-4DC6-9CD0-0B60A020D179}" dt="2023-02-28T00:41:29.068" v="4"/>
        <pc:sldMkLst>
          <pc:docMk/>
          <pc:sldMk cId="4057156843" sldId="296"/>
        </pc:sldMkLst>
        <pc:picChg chg="add mod">
          <ac:chgData name="Roberto Gallardo" userId="49a044883f185952" providerId="LiveId" clId="{01BB38BA-0BCF-4DC6-9CD0-0B60A020D179}" dt="2023-02-28T00:41:29.068" v="4"/>
          <ac:picMkLst>
            <pc:docMk/>
            <pc:sldMk cId="4057156843" sldId="296"/>
            <ac:picMk id="7" creationId="{CA0A13D2-9BB1-6B2A-69CB-9216C21BCC98}"/>
          </ac:picMkLst>
        </pc:picChg>
      </pc:sldChg>
      <pc:sldChg chg="addSp modSp">
        <pc:chgData name="Roberto Gallardo" userId="49a044883f185952" providerId="LiveId" clId="{01BB38BA-0BCF-4DC6-9CD0-0B60A020D179}" dt="2023-02-28T00:41:13.008" v="2"/>
        <pc:sldMkLst>
          <pc:docMk/>
          <pc:sldMk cId="2080110827" sldId="297"/>
        </pc:sldMkLst>
        <pc:picChg chg="add mod">
          <ac:chgData name="Roberto Gallardo" userId="49a044883f185952" providerId="LiveId" clId="{01BB38BA-0BCF-4DC6-9CD0-0B60A020D179}" dt="2023-02-28T00:41:13.008" v="2"/>
          <ac:picMkLst>
            <pc:docMk/>
            <pc:sldMk cId="2080110827" sldId="297"/>
            <ac:picMk id="3" creationId="{7084764F-A6A7-6EF7-95A5-AE6E83B635EF}"/>
          </ac:picMkLst>
        </pc:picChg>
      </pc:sldChg>
      <pc:sldChg chg="addSp modSp">
        <pc:chgData name="Roberto Gallardo" userId="49a044883f185952" providerId="LiveId" clId="{01BB38BA-0BCF-4DC6-9CD0-0B60A020D179}" dt="2023-02-28T00:41:07.038" v="1"/>
        <pc:sldMkLst>
          <pc:docMk/>
          <pc:sldMk cId="1532666867" sldId="298"/>
        </pc:sldMkLst>
        <pc:picChg chg="add mod">
          <ac:chgData name="Roberto Gallardo" userId="49a044883f185952" providerId="LiveId" clId="{01BB38BA-0BCF-4DC6-9CD0-0B60A020D179}" dt="2023-02-28T00:41:07.038" v="1"/>
          <ac:picMkLst>
            <pc:docMk/>
            <pc:sldMk cId="1532666867" sldId="298"/>
            <ac:picMk id="3" creationId="{62751EF8-2D97-F1F3-6DF3-69E3F15E1844}"/>
          </ac:picMkLst>
        </pc:picChg>
      </pc:sldChg>
      <pc:sldChg chg="addSp modSp">
        <pc:chgData name="Roberto Gallardo" userId="49a044883f185952" providerId="LiveId" clId="{01BB38BA-0BCF-4DC6-9CD0-0B60A020D179}" dt="2023-02-28T00:43:15.094" v="18"/>
        <pc:sldMkLst>
          <pc:docMk/>
          <pc:sldMk cId="1951376777" sldId="299"/>
        </pc:sldMkLst>
        <pc:picChg chg="add mod">
          <ac:chgData name="Roberto Gallardo" userId="49a044883f185952" providerId="LiveId" clId="{01BB38BA-0BCF-4DC6-9CD0-0B60A020D179}" dt="2023-02-28T00:43:15.094" v="18"/>
          <ac:picMkLst>
            <pc:docMk/>
            <pc:sldMk cId="1951376777" sldId="299"/>
            <ac:picMk id="7" creationId="{07D267AC-89FD-628C-D0DB-603DC55B97F6}"/>
          </ac:picMkLst>
        </pc:picChg>
      </pc:sldChg>
      <pc:sldChg chg="add del">
        <pc:chgData name="Roberto Gallardo" userId="49a044883f185952" providerId="LiveId" clId="{01BB38BA-0BCF-4DC6-9CD0-0B60A020D179}" dt="2023-02-28T00:42:18.933" v="11"/>
        <pc:sldMkLst>
          <pc:docMk/>
          <pc:sldMk cId="778741276" sldId="30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Hyde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8931CAF-054A-F920-42E6-C857C4A3002A}"/>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94F41611-9867-BCD5-4DD3-0A2642A80D14}"/>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5" name="Picture 4" descr="Map&#10;&#10;Description automatically generated">
            <a:extLst>
              <a:ext uri="{FF2B5EF4-FFF2-40B4-BE49-F238E27FC236}">
                <a16:creationId xmlns:a16="http://schemas.microsoft.com/office/drawing/2014/main" id="{1319E5B6-942E-B4C1-6545-37990D2388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0965" y="1028700"/>
            <a:ext cx="7613870" cy="5384203"/>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3" name="Picture 2" descr="Map&#10;&#10;Description automatically generated">
            <a:extLst>
              <a:ext uri="{FF2B5EF4-FFF2-40B4-BE49-F238E27FC236}">
                <a16:creationId xmlns:a16="http://schemas.microsoft.com/office/drawing/2014/main" id="{62751EF8-2D97-F1F3-6DF3-69E3F15E18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3" name="Picture 2" descr="Map&#10;&#10;Description automatically generated">
            <a:extLst>
              <a:ext uri="{FF2B5EF4-FFF2-40B4-BE49-F238E27FC236}">
                <a16:creationId xmlns:a16="http://schemas.microsoft.com/office/drawing/2014/main" id="{7084764F-A6A7-6EF7-95A5-AE6E83B635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1767" y="1036021"/>
            <a:ext cx="7592265" cy="5368925"/>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F3DDBB4-8B47-6708-0469-22FBFBF428C9}"/>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AD9E09B6-3229-7E96-9478-EC8620B3B3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48070"/>
            <a:ext cx="6321268" cy="447013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D8CB68A-EDF7-8EB7-A97E-4BBC34637EF3}"/>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CA0A13D2-9BB1-6B2A-69CB-9216C21BCC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5909" y="1447800"/>
            <a:ext cx="6303691" cy="4457700"/>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E0EA98DA-6B73-6974-7FC0-F7ECDC597334}"/>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1A8C7B52-DF88-9C4E-D4CA-3A45F7A298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40212"/>
            <a:ext cx="6324600" cy="4472486"/>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5B0D0E1-7711-AA40-33ED-230FD6F75343}"/>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34317F2B-5721-9E0E-12AA-3A8D802F7E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5615" y="1442244"/>
            <a:ext cx="6317160" cy="4467224"/>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20AFAAF1-322E-4441-3D00-044EB19AE526}"/>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259B842-2C93-5CEF-CBFF-AFB650E4A9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7071" y="1439455"/>
            <a:ext cx="6327291" cy="447438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F0BBA5D2-A7F3-8F7E-6254-5EBD8E51836A}"/>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0B95375-E2BF-1A3D-6F79-2EF9A7BE8C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2257" y="1429716"/>
            <a:ext cx="6321369" cy="447020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E80C75D0-9253-CAE2-CAF8-BB92260123B4}"/>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6D1FED5A-3EAE-C4F8-D47E-1DE30CEA9D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1" y="1442860"/>
            <a:ext cx="6324600" cy="4472486"/>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7D56E42F-4A25-C293-6915-772ACD642EB6}"/>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E1D6FEAE-897C-1142-087F-2554818C6F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35644"/>
            <a:ext cx="6324600" cy="447248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703DDE18-B711-BB03-81A2-8F9780D2378D}"/>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9D46A06-2342-75B8-0940-E719178C53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5027" y="1442171"/>
            <a:ext cx="6344098" cy="4486274"/>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AB9A672D-8165-8373-FA3C-BA93FDED9E0B}"/>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17FA551-0998-64ED-A2C5-E3534CD826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0067" y="1446121"/>
            <a:ext cx="6319533" cy="4468903"/>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E69033DC-B05B-1D5B-2AE1-96A9B49739E1}"/>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1BDA16F-1514-1A47-246A-26163D0957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6320" y="1434181"/>
            <a:ext cx="6323280" cy="4471553"/>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E9AA7384-0624-687F-E75F-F2BEC0821456}"/>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AFF372E-7AE6-7506-9020-E629AFA6D4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57325"/>
            <a:ext cx="6303691" cy="4457700"/>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55557FC8-2159-4E99-31AA-E53E1959EFF6}"/>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15D08D82-536B-7D1D-E0C3-D45977BE7A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35330"/>
            <a:ext cx="6335968" cy="4480525"/>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4E7C1E51-E9EC-8CAC-07EB-71BA5EA1BA9F}"/>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07D267AC-89FD-628C-D0DB-603DC55B97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40407"/>
            <a:ext cx="6324599" cy="4472485"/>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83C61B61-3C5E-F313-98EB-C96640566E45}"/>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A picture containing map&#10;&#10;Description automatically generated">
            <a:extLst>
              <a:ext uri="{FF2B5EF4-FFF2-40B4-BE49-F238E27FC236}">
                <a16:creationId xmlns:a16="http://schemas.microsoft.com/office/drawing/2014/main" id="{61419480-810D-32CD-F2B6-E162BE9016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44090"/>
            <a:ext cx="6324600" cy="4472486"/>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2DC7F5FC-1659-25F0-A328-5E8D19925222}"/>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ACD86846-8181-3178-1AC5-2D3E00594889}"/>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A picture containing map&#10;&#10;Description automatically generated">
            <a:extLst>
              <a:ext uri="{FF2B5EF4-FFF2-40B4-BE49-F238E27FC236}">
                <a16:creationId xmlns:a16="http://schemas.microsoft.com/office/drawing/2014/main" id="{84E8F11C-34FE-A676-2B91-379E2EA54D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35705"/>
            <a:ext cx="6324600" cy="4472486"/>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5351E264-0173-D19C-AF40-337375260631}"/>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FD793CD-02D3-DCB2-542E-34966FC588AE}"/>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2E5D4B2-12D9-8960-A3A3-0BB01CCE9DB6}"/>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35852" y="3174988"/>
            <a:ext cx="1198148" cy="2024013"/>
            <a:chOff x="10485745" y="2857587"/>
            <a:chExt cx="1198148" cy="202401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4365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3</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8575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857587"/>
              <a:ext cx="0" cy="5789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329086"/>
              <a:ext cx="0" cy="5525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76257" y="2543875"/>
            <a:ext cx="1198148" cy="2105277"/>
            <a:chOff x="2775759" y="2291483"/>
            <a:chExt cx="1198148" cy="210527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9432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0</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39676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914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91483"/>
              <a:ext cx="0" cy="6028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86878"/>
              <a:ext cx="0" cy="6098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787E4819-5A21-CE04-C337-C0EB4DD3F533}"/>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419273FD-F168-F201-841A-18931D3B7D1B}"/>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6A80C01-53D5-0842-D71F-B62612F71D21}"/>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93A4096B-BDC6-9A26-B8F5-3F68EA11D094}"/>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601E39E8-FF8E-CB74-8543-C883C728F859}"/>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342B64E2-6093-0D66-BE74-3AF88B4C945F}"/>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0B4C4909-9CAF-C86B-EC18-014DE1C69034}"/>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39E7DBD1-6919-F706-FE2A-2633FDD6FBDA}"/>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48</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28</cp:revision>
  <dcterms:created xsi:type="dcterms:W3CDTF">2022-07-04T13:32:28Z</dcterms:created>
  <dcterms:modified xsi:type="dcterms:W3CDTF">2023-02-28T00:43:30Z</dcterms:modified>
</cp:coreProperties>
</file>